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60" r:id="rId43"/>
  </p:sldMasterIdLst>
  <p:notesMasterIdLst>
    <p:notesMasterId r:id="rId46"/>
  </p:notesMasterIdLst>
  <p:handoutMasterIdLst>
    <p:handoutMasterId r:id="rId47"/>
  </p:handoutMasterIdLst>
  <p:sldIdLst>
    <p:sldId id="710" r:id="rId44"/>
    <p:sldId id="729" r:id="rId45"/>
  </p:sldIdLst>
  <p:sldSz cx="9906000" cy="6858000" type="A4"/>
  <p:notesSz cx="6792913" cy="9925050"/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enginova, Aliya" initials="ZA" lastIdx="1" clrIdx="0">
    <p:extLst/>
  </p:cmAuthor>
  <p:cmAuthor id="2" name="Yermagambetov, Damir" initials="YD" lastIdx="2" clrIdx="1">
    <p:extLst/>
  </p:cmAuthor>
  <p:cmAuthor id="3" name="Adilbayeva, Zhanar" initials="AZ" lastIdx="4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00"/>
    <a:srgbClr val="D2DEEF"/>
    <a:srgbClr val="294378"/>
    <a:srgbClr val="16B65F"/>
    <a:srgbClr val="568BB9"/>
    <a:srgbClr val="DEEBF7"/>
    <a:srgbClr val="869DB7"/>
    <a:srgbClr val="E6E8F0"/>
    <a:srgbClr val="C30C3E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4" autoAdjust="0"/>
    <p:restoredTop sz="67754" autoAdjust="0"/>
  </p:normalViewPr>
  <p:slideViewPr>
    <p:cSldViewPr snapToGrid="0">
      <p:cViewPr varScale="1">
        <p:scale>
          <a:sx n="113" d="100"/>
          <a:sy n="113" d="100"/>
        </p:scale>
        <p:origin x="1242" y="96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customXml" Target="../customXml/item39.xml"/><Relationship Id="rId3" Type="http://schemas.openxmlformats.org/officeDocument/2006/relationships/customXml" Target="../customXml/item3.xml"/><Relationship Id="rId21" Type="http://schemas.openxmlformats.org/officeDocument/2006/relationships/customXml" Target="../customXml/item21.xml"/><Relationship Id="rId34" Type="http://schemas.openxmlformats.org/officeDocument/2006/relationships/customXml" Target="../customXml/item34.xml"/><Relationship Id="rId42" Type="http://schemas.openxmlformats.org/officeDocument/2006/relationships/customXml" Target="../customXml/item42.xml"/><Relationship Id="rId47" Type="http://schemas.openxmlformats.org/officeDocument/2006/relationships/handoutMaster" Target="handoutMasters/handoutMaster1.xml"/><Relationship Id="rId50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customXml" Target="../customXml/item29.xml"/><Relationship Id="rId41" Type="http://schemas.openxmlformats.org/officeDocument/2006/relationships/customXml" Target="../customXml/item4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customXml" Target="../customXml/item40.xml"/><Relationship Id="rId45" Type="http://schemas.openxmlformats.org/officeDocument/2006/relationships/slide" Target="slides/slide2.xml"/><Relationship Id="rId53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ommentAuthors" Target="commentAuthors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customXml" Target="../customXml/item31.xml"/><Relationship Id="rId44" Type="http://schemas.openxmlformats.org/officeDocument/2006/relationships/slide" Target="slides/slide1.xml"/><Relationship Id="rId52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slideMaster" Target="slideMasters/slideMaster1.xml"/><Relationship Id="rId48" Type="http://schemas.openxmlformats.org/officeDocument/2006/relationships/tags" Target="tags/tag1.xml"/><Relationship Id="rId8" Type="http://schemas.openxmlformats.org/officeDocument/2006/relationships/customXml" Target="../customXml/item8.xml"/><Relationship Id="rId51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ukusheva\Desktop\&#1053;&#1086;&#1088;&#1084;&#1072;&#1090;&#1080;&#1074;&#1085;&#1099;&#1077;%20&#1076;&#1086;&#1082;&#1091;&#1084;&#1077;&#1085;&#1090;&#1099;\&#1055;&#1086;&#1083;&#1080;&#1090;&#1080;&#1082;&#1072;%20&#1087;&#1086;%20&#1072;&#1091;&#1076;&#1080;&#1090;&#1091;\2024\Copy%20of%20&#1055;&#1088;&#1077;&#1079;&#1077;&#1085;&#1090;&#1072;&#1094;&#1080;&#1103;%20%20&#1082;&#1086;&#1087;&#1080;&#1103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ru-RU" sz="1600" b="1" i="0" u="none" strike="noStrike" kern="1200" baseline="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600" b="1" i="0" u="none" strike="noStrike" kern="1200" baseline="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Стоимость услуг без НДС, в тысячах тенге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ru-RU" sz="1600" b="1" i="0" u="none" strike="noStrike" kern="1200" baseline="0">
              <a:solidFill>
                <a:schemeClr val="accent5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cked"/>
        <c:varyColors val="0"/>
        <c:ser>
          <c:idx val="0"/>
          <c:order val="0"/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G$6:$H$6</c:f>
              <c:strCache>
                <c:ptCount val="2"/>
                <c:pt idx="0">
                  <c:v>2022 год</c:v>
                </c:pt>
                <c:pt idx="1">
                  <c:v>2023 год</c:v>
                </c:pt>
              </c:strCache>
            </c:strRef>
          </c:cat>
          <c:val>
            <c:numRef>
              <c:f>Лист1!$G$7:$H$7</c:f>
              <c:numCache>
                <c:formatCode>#,##0</c:formatCode>
                <c:ptCount val="2"/>
                <c:pt idx="0">
                  <c:v>24548</c:v>
                </c:pt>
                <c:pt idx="1">
                  <c:v>2446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124590616"/>
        <c:axId val="124591400"/>
        <c:axId val="0"/>
      </c:bar3DChart>
      <c:catAx>
        <c:axId val="124590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4591400"/>
        <c:crosses val="autoZero"/>
        <c:auto val="1"/>
        <c:lblAlgn val="ctr"/>
        <c:lblOffset val="100"/>
        <c:noMultiLvlLbl val="0"/>
      </c:catAx>
      <c:valAx>
        <c:axId val="124591400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45906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style1.xml><?xml version="1.0" encoding="utf-8"?>
<cs:chartStyle xmlns:cs="http://schemas.microsoft.com/office/drawing/2012/chartStyle" xmlns:a="http://schemas.openxmlformats.org/drawingml/2006/main" id="290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4336" cy="4968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6992" y="2"/>
            <a:ext cx="2944336" cy="4968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3D0D66-CD95-4C59-8BD2-86E964CCC6C2}" type="datetimeFigureOut">
              <a:rPr lang="en-US" smtClean="0"/>
              <a:t>2/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242"/>
            <a:ext cx="2944336" cy="4968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6992" y="9428242"/>
            <a:ext cx="2944336" cy="4968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8DA7D1-1C47-4330-B2A2-14D5E00A285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42166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6" y="1"/>
            <a:ext cx="2943595" cy="497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7751" y="1"/>
            <a:ext cx="2943595" cy="497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65BA42-6235-468D-BF9B-650F3C89D3F5}" type="datetimeFigureOut">
              <a:rPr lang="en-US" smtClean="0"/>
              <a:t>2/7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30763" cy="33448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292" y="4776431"/>
            <a:ext cx="5434330" cy="39079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6" y="9427079"/>
            <a:ext cx="2943595" cy="49797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7751" y="9427079"/>
            <a:ext cx="2943595" cy="49797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6BAF8E-715D-4921-8E43-D5B880E90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884755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3013"/>
            <a:ext cx="4830763" cy="33448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9881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14031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04351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9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B1B12-B304-4D09-83FA-6DBBEA756E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8028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B1B12-B304-4D09-83FA-6DBBEA756E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8576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B1B12-B304-4D09-83FA-6DBBEA756E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20664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B1B12-B304-4D09-83FA-6DBBEA756E28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7833278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1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389599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B1B12-B304-4D09-83FA-6DBBEA756E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0611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B1B12-B304-4D09-83FA-6DBBEA756E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6658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B1B12-B304-4D09-83FA-6DBBEA756E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2619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9720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1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B1B12-B304-4D09-83FA-6DBBEA756E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1655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B1B12-B304-4D09-83FA-6DBBEA756E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53045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B1B12-B304-4D09-83FA-6DBBEA756E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0051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err="1" smtClean="0"/>
              <a:t>Clickicontoadd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B1B12-B304-4D09-83FA-6DBBEA756E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06546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64757461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0" name="think-cell Slide" r:id="rId17" imgW="216" imgH="216" progId="TCLayout.ActiveDocument.1">
                  <p:embed/>
                </p:oleObj>
              </mc:Choice>
              <mc:Fallback>
                <p:oleObj name="think-cell Slide" r:id="rId1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9B1B12-B304-4D09-83FA-6DBBEA756E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7828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customXml" Target="../../customXml/item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9.xml"/><Relationship Id="rId7" Type="http://schemas.openxmlformats.org/officeDocument/2006/relationships/image" Target="../media/image5.emf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custData r:id="rId2"/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532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20" b="3538"/>
          <a:stretch/>
        </p:blipFill>
        <p:spPr>
          <a:xfrm>
            <a:off x="0" y="-226829"/>
            <a:ext cx="9983755" cy="6858001"/>
          </a:xfrm>
          <a:prstGeom prst="rect">
            <a:avLst/>
          </a:prstGeom>
        </p:spPr>
      </p:pic>
      <p:sp>
        <p:nvSpPr>
          <p:cNvPr id="8" name="Прямоугольник 3"/>
          <p:cNvSpPr/>
          <p:nvPr/>
        </p:nvSpPr>
        <p:spPr>
          <a:xfrm>
            <a:off x="88008" y="4820549"/>
            <a:ext cx="64392" cy="1442720"/>
          </a:xfrm>
          <a:prstGeom prst="rect">
            <a:avLst/>
          </a:prstGeom>
          <a:solidFill>
            <a:srgbClr val="AF9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AF9778"/>
              </a:solidFill>
            </a:endParaRPr>
          </a:p>
        </p:txBody>
      </p:sp>
      <p:sp>
        <p:nvSpPr>
          <p:cNvPr id="10" name="Прямоугольник 5"/>
          <p:cNvSpPr/>
          <p:nvPr/>
        </p:nvSpPr>
        <p:spPr>
          <a:xfrm>
            <a:off x="7345680" y="4820549"/>
            <a:ext cx="2387600" cy="1442720"/>
          </a:xfrm>
          <a:prstGeom prst="rect">
            <a:avLst/>
          </a:prstGeom>
          <a:solidFill>
            <a:srgbClr val="AF9778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AF9778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52401" y="4820549"/>
            <a:ext cx="7097712" cy="1442720"/>
          </a:xfrm>
          <a:prstGeom prst="rect">
            <a:avLst/>
          </a:prstGeom>
          <a:solidFill>
            <a:srgbClr val="294378">
              <a:alpha val="85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Информация </a:t>
            </a:r>
            <a:r>
              <a:rPr lang="ru-RU" b="1" dirty="0"/>
              <a:t>о вознаграждении, выплаченном ТОО «</a:t>
            </a:r>
            <a:r>
              <a:rPr lang="ru-RU" b="1" dirty="0" err="1"/>
              <a:t>Самрук-Қазына</a:t>
            </a:r>
            <a:r>
              <a:rPr lang="ru-RU" b="1" dirty="0"/>
              <a:t> Инвест» аудиторской организации за оказание аудиторских и неаудиторских услуг за </a:t>
            </a:r>
            <a:r>
              <a:rPr lang="ru-RU" b="1" dirty="0" smtClean="0"/>
              <a:t>2023 </a:t>
            </a:r>
            <a:r>
              <a:rPr lang="ru-RU" b="1" dirty="0"/>
              <a:t>год </a:t>
            </a:r>
            <a:endParaRPr lang="ru-RU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2349" y="5104473"/>
            <a:ext cx="1974261" cy="874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164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ct 5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192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00" dirty="0">
              <a:latin typeface="Calibri"/>
              <a:sym typeface="Calibri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550150" y="6454467"/>
            <a:ext cx="2228850" cy="365125"/>
          </a:xfrm>
        </p:spPr>
        <p:txBody>
          <a:bodyPr/>
          <a:lstStyle/>
          <a:p>
            <a:r>
              <a:rPr lang="en-US" dirty="0" smtClean="0"/>
              <a:t>1</a:t>
            </a:r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0810829"/>
              </p:ext>
            </p:extLst>
          </p:nvPr>
        </p:nvGraphicFramePr>
        <p:xfrm>
          <a:off x="285804" y="325425"/>
          <a:ext cx="9431467" cy="6177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31467"/>
              </a:tblGrid>
              <a:tr h="149048">
                <a:tc>
                  <a:txBody>
                    <a:bodyPr/>
                    <a:lstStyle/>
                    <a:p>
                      <a:pPr algn="just"/>
                      <a:r>
                        <a:rPr lang="ru-RU" sz="1600" dirty="0" smtClean="0">
                          <a:solidFill>
                            <a:schemeClr val="bg1"/>
                          </a:solidFill>
                        </a:rPr>
                        <a:t>Аудиторские и неаудиторские услуги</a:t>
                      </a:r>
                      <a:endParaRPr lang="ru-RU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94378"/>
                    </a:solidFill>
                  </a:tcPr>
                </a:tc>
              </a:tr>
              <a:tr h="282511">
                <a:tc>
                  <a:txBody>
                    <a:bodyPr/>
                    <a:lstStyle/>
                    <a:p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2447688"/>
              </p:ext>
            </p:extLst>
          </p:nvPr>
        </p:nvGraphicFramePr>
        <p:xfrm>
          <a:off x="279694" y="867943"/>
          <a:ext cx="9431465" cy="1646440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349638"/>
                <a:gridCol w="1241960"/>
                <a:gridCol w="1712374"/>
                <a:gridCol w="3091592"/>
                <a:gridCol w="1121213"/>
                <a:gridCol w="957344"/>
                <a:gridCol w="957344"/>
              </a:tblGrid>
              <a:tr h="20901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№ п/п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аименование компании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аименование аудиторской организации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удиторские услуги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еаудиторские услуги</a:t>
                      </a: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оимость услуг без НДС,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в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ысячах тенге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901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д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д</a:t>
                      </a:r>
                    </a:p>
                  </a:txBody>
                  <a:tcPr marL="9525" marR="9525" marT="9525" marB="0" anchor="ctr"/>
                </a:tc>
              </a:tr>
              <a:tr h="10926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ОО «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амрук-Қазына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Инвест»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ОО «ПрайсуотерхаусКуперс»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зор пакета форм консолидированной финансовой отчетности по полугодию и аудит годовой консолидированной финансовой отчетности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е </a:t>
                      </a:r>
                      <a:r>
                        <a:rPr lang="kk-KZ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казывались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54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46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56165685"/>
              </p:ext>
            </p:extLst>
          </p:nvPr>
        </p:nvGraphicFramePr>
        <p:xfrm>
          <a:off x="1617133" y="3056902"/>
          <a:ext cx="6510866" cy="32696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807662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89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6.46662781984542878178E+00&quot;&gt;&lt;m_msothmcolidx val=&quot;0&quot;/&gt;&lt;m_rgb r=&quot;29&quot; g=&quot;43&quot; b=&quot;78&quot;/&gt;&lt;m_nBrightness endver=&quot;26206&quot; val=&quot;0&quot;/&gt;&lt;/elem&gt;&lt;elem m_fUsage=&quot;2.57290208004349718607E+00&quot;&gt;&lt;m_msothmcolidx val=&quot;0&quot;/&gt;&lt;m_rgb r=&quot;86&quot; g=&quot;9D&quot; b=&quot;B7&quot;/&gt;&lt;m_nBrightness endver=&quot;26206&quot; val=&quot;0&quot;/&gt;&lt;/elem&gt;&lt;elem m_fUsage=&quot;9.60468222313010322466E-01&quot;&gt;&lt;m_msothmcolidx val=&quot;0&quot;/&gt;&lt;m_rgb r=&quot;D6&quot; g=&quot;E7&quot; b=&quot;FF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qDNvlvLO_Qiskcr2vr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k_Q3avvOK0ymEZBXkEJQ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
</file>

<file path=customXml/item10.xml>
</file>

<file path=customXml/item11.xml>
</file>

<file path=customXml/item12.xml>
</file>

<file path=customXml/item13.xml>
</file>

<file path=customXml/item14.xml>
</file>

<file path=customXml/item15.xml>
</file>

<file path=customXml/item16.xml><?xml version="1.0" encoding="utf-8"?>
<Application xmlns="http://www.sap.com/cof/ao/powerpoint/application">
  <com.sap.ip.bi.pioneer>
    <Version>4</Version>
    <AAO_Revision>2.4.5.77122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17.xml>
</file>

<file path=customXml/item18.xml>
</file>

<file path=customXml/item19.xml>
</file>

<file path=customXml/item2.xml>
</file>

<file path=customXml/item20.xml>
</file>

<file path=customXml/item21.xml>
</file>

<file path=customXml/item22.xml>
</file>

<file path=customXml/item23.xml>
</file>

<file path=customXml/item24.xml>
</file>

<file path=customXml/item25.xml>
</file>

<file path=customXml/item26.xml>
</file>

<file path=customXml/item27.xml>
</file>

<file path=customXml/item28.xml>
</file>

<file path=customXml/item29.xml>
</file>

<file path=customXml/item3.xml>
</file>

<file path=customXml/item30.xml>
</file>

<file path=customXml/item31.xml>
</file>

<file path=customXml/item32.xml>
</file>

<file path=customXml/item33.xml>
</file>

<file path=customXml/item34.xml>
</file>

<file path=customXml/item35.xml>
</file>

<file path=customXml/item36.xml>
</file>

<file path=customXml/item37.xml>
</file>

<file path=customXml/item38.xml>
</file>

<file path=customXml/item39.xml>
</file>

<file path=customXml/item4.xml>
</file>

<file path=customXml/item40.xml><?xml version="1.0" encoding="utf-8"?>
<Application xmlns="http://www.sap.com/cof/powerpoint/application">
  <Version>2</Version>
  <Revision>2.4.5.77122</Revision>
</Application>
</file>

<file path=customXml/item41.xml>
</file>

<file path=customXml/item42.xml>
</file>

<file path=customXml/item5.xml>
</file>

<file path=customXml/item6.xml>
</file>

<file path=customXml/item7.xml>
</file>

<file path=customXml/item8.xml>
</file>

<file path=customXml/item9.xml>
</file>

<file path=customXml/itemProps1.xml><?xml version="1.0" encoding="utf-8"?>
<ds:datastoreItem xmlns:ds="http://schemas.openxmlformats.org/officeDocument/2006/customXml" ds:itemID="{77F1C453-FFB7-49B6-B949-4DB7B81E92A0}"/>
</file>

<file path=customXml/itemProps10.xml><?xml version="1.0" encoding="utf-8"?>
<ds:datastoreItem xmlns:ds="http://schemas.openxmlformats.org/officeDocument/2006/customXml" ds:itemID="{A48FC37D-C3C1-4812-B392-6499E332C1A5}"/>
</file>

<file path=customXml/itemProps11.xml><?xml version="1.0" encoding="utf-8"?>
<ds:datastoreItem xmlns:ds="http://schemas.openxmlformats.org/officeDocument/2006/customXml" ds:itemID="{A5BE904D-C79A-4D4E-B8BE-E9D06710EE92}"/>
</file>

<file path=customXml/itemProps12.xml><?xml version="1.0" encoding="utf-8"?>
<ds:datastoreItem xmlns:ds="http://schemas.openxmlformats.org/officeDocument/2006/customXml" ds:itemID="{1B29544A-6828-4D61-B6BB-248A3C1E457F}"/>
</file>

<file path=customXml/itemProps13.xml><?xml version="1.0" encoding="utf-8"?>
<ds:datastoreItem xmlns:ds="http://schemas.openxmlformats.org/officeDocument/2006/customXml" ds:itemID="{8E0499C0-07F6-4F8B-B8DB-3D7352F058D0}"/>
</file>

<file path=customXml/itemProps14.xml><?xml version="1.0" encoding="utf-8"?>
<ds:datastoreItem xmlns:ds="http://schemas.openxmlformats.org/officeDocument/2006/customXml" ds:itemID="{A80D5B4A-8F69-4997-A582-F083F47BB993}"/>
</file>

<file path=customXml/itemProps15.xml><?xml version="1.0" encoding="utf-8"?>
<ds:datastoreItem xmlns:ds="http://schemas.openxmlformats.org/officeDocument/2006/customXml" ds:itemID="{0E618C11-F7DE-4E8B-A55F-8161E84159D6}"/>
</file>

<file path=customXml/itemProps16.xml><?xml version="1.0" encoding="utf-8"?>
<ds:datastoreItem xmlns:ds="http://schemas.openxmlformats.org/officeDocument/2006/customXml" ds:itemID="{36D36A4F-DC49-4A9A-9C58-3F73C002D95D}">
  <ds:schemaRefs>
    <ds:schemaRef ds:uri="http://www.sap.com/cof/ao/powerpoint/application"/>
  </ds:schemaRefs>
</ds:datastoreItem>
</file>

<file path=customXml/itemProps17.xml><?xml version="1.0" encoding="utf-8"?>
<ds:datastoreItem xmlns:ds="http://schemas.openxmlformats.org/officeDocument/2006/customXml" ds:itemID="{210F5F36-DACC-465E-B157-CC53BD7980CD}"/>
</file>

<file path=customXml/itemProps18.xml><?xml version="1.0" encoding="utf-8"?>
<ds:datastoreItem xmlns:ds="http://schemas.openxmlformats.org/officeDocument/2006/customXml" ds:itemID="{AEE4C415-B15F-48CE-A2DD-048F68B0E5ED}"/>
</file>

<file path=customXml/itemProps19.xml><?xml version="1.0" encoding="utf-8"?>
<ds:datastoreItem xmlns:ds="http://schemas.openxmlformats.org/officeDocument/2006/customXml" ds:itemID="{4CFA2749-7B03-479D-B705-9E6D5D61E399}"/>
</file>

<file path=customXml/itemProps2.xml><?xml version="1.0" encoding="utf-8"?>
<ds:datastoreItem xmlns:ds="http://schemas.openxmlformats.org/officeDocument/2006/customXml" ds:itemID="{DDF1C6D9-E7BE-4D69-9B7B-ED7B708628FA}"/>
</file>

<file path=customXml/itemProps20.xml><?xml version="1.0" encoding="utf-8"?>
<ds:datastoreItem xmlns:ds="http://schemas.openxmlformats.org/officeDocument/2006/customXml" ds:itemID="{BBDB90D9-AEA3-41E5-AD21-B2832B531312}"/>
</file>

<file path=customXml/itemProps21.xml><?xml version="1.0" encoding="utf-8"?>
<ds:datastoreItem xmlns:ds="http://schemas.openxmlformats.org/officeDocument/2006/customXml" ds:itemID="{E557A66A-1F4F-4AA1-B901-897C5A5CC233}"/>
</file>

<file path=customXml/itemProps22.xml><?xml version="1.0" encoding="utf-8"?>
<ds:datastoreItem xmlns:ds="http://schemas.openxmlformats.org/officeDocument/2006/customXml" ds:itemID="{228C5C18-C3BA-4B96-B62C-25F6130EF14B}"/>
</file>

<file path=customXml/itemProps23.xml><?xml version="1.0" encoding="utf-8"?>
<ds:datastoreItem xmlns:ds="http://schemas.openxmlformats.org/officeDocument/2006/customXml" ds:itemID="{52DC79D8-727B-47E9-8AA8-343E3DA7D55A}"/>
</file>

<file path=customXml/itemProps24.xml><?xml version="1.0" encoding="utf-8"?>
<ds:datastoreItem xmlns:ds="http://schemas.openxmlformats.org/officeDocument/2006/customXml" ds:itemID="{B4A5FFA5-E8BF-437F-88ED-C363CD1ECCB8}"/>
</file>

<file path=customXml/itemProps25.xml><?xml version="1.0" encoding="utf-8"?>
<ds:datastoreItem xmlns:ds="http://schemas.openxmlformats.org/officeDocument/2006/customXml" ds:itemID="{ECE5DD0A-3772-4BD4-A857-7355F9E1DBAD}"/>
</file>

<file path=customXml/itemProps26.xml><?xml version="1.0" encoding="utf-8"?>
<ds:datastoreItem xmlns:ds="http://schemas.openxmlformats.org/officeDocument/2006/customXml" ds:itemID="{535E4C9D-4E08-4219-AA9D-7AF243B9C03F}"/>
</file>

<file path=customXml/itemProps27.xml><?xml version="1.0" encoding="utf-8"?>
<ds:datastoreItem xmlns:ds="http://schemas.openxmlformats.org/officeDocument/2006/customXml" ds:itemID="{A45AAEDC-7CEA-40ED-8CF5-A941C59B4717}"/>
</file>

<file path=customXml/itemProps28.xml><?xml version="1.0" encoding="utf-8"?>
<ds:datastoreItem xmlns:ds="http://schemas.openxmlformats.org/officeDocument/2006/customXml" ds:itemID="{B82EBD6A-2790-436E-AB15-E3CCF05E6315}"/>
</file>

<file path=customXml/itemProps29.xml><?xml version="1.0" encoding="utf-8"?>
<ds:datastoreItem xmlns:ds="http://schemas.openxmlformats.org/officeDocument/2006/customXml" ds:itemID="{B90EA897-9E7F-4541-BA5C-01648B4AD055}"/>
</file>

<file path=customXml/itemProps3.xml><?xml version="1.0" encoding="utf-8"?>
<ds:datastoreItem xmlns:ds="http://schemas.openxmlformats.org/officeDocument/2006/customXml" ds:itemID="{3A1BF05F-C604-4A7B-8F86-0501DE8DF449}"/>
</file>

<file path=customXml/itemProps30.xml><?xml version="1.0" encoding="utf-8"?>
<ds:datastoreItem xmlns:ds="http://schemas.openxmlformats.org/officeDocument/2006/customXml" ds:itemID="{038BD8C0-2C79-42C0-A615-2682484E2360}"/>
</file>

<file path=customXml/itemProps31.xml><?xml version="1.0" encoding="utf-8"?>
<ds:datastoreItem xmlns:ds="http://schemas.openxmlformats.org/officeDocument/2006/customXml" ds:itemID="{ADBF88B2-8D23-497A-91F1-9DAD2E8D8FC4}"/>
</file>

<file path=customXml/itemProps32.xml><?xml version="1.0" encoding="utf-8"?>
<ds:datastoreItem xmlns:ds="http://schemas.openxmlformats.org/officeDocument/2006/customXml" ds:itemID="{0C4A36B3-642F-45D4-8602-8A875FA22F69}"/>
</file>

<file path=customXml/itemProps33.xml><?xml version="1.0" encoding="utf-8"?>
<ds:datastoreItem xmlns:ds="http://schemas.openxmlformats.org/officeDocument/2006/customXml" ds:itemID="{B82DD22B-5FA8-4871-8227-A01D539A38B0}"/>
</file>

<file path=customXml/itemProps34.xml><?xml version="1.0" encoding="utf-8"?>
<ds:datastoreItem xmlns:ds="http://schemas.openxmlformats.org/officeDocument/2006/customXml" ds:itemID="{88BAF05D-B78A-44E3-AAAB-440D57FF4346}"/>
</file>

<file path=customXml/itemProps35.xml><?xml version="1.0" encoding="utf-8"?>
<ds:datastoreItem xmlns:ds="http://schemas.openxmlformats.org/officeDocument/2006/customXml" ds:itemID="{53DF1332-67C7-440B-9A1F-0EA2971328DD}"/>
</file>

<file path=customXml/itemProps36.xml><?xml version="1.0" encoding="utf-8"?>
<ds:datastoreItem xmlns:ds="http://schemas.openxmlformats.org/officeDocument/2006/customXml" ds:itemID="{4B030BD9-CD0C-4217-9792-277289DA8DEC}"/>
</file>

<file path=customXml/itemProps37.xml><?xml version="1.0" encoding="utf-8"?>
<ds:datastoreItem xmlns:ds="http://schemas.openxmlformats.org/officeDocument/2006/customXml" ds:itemID="{53A2A20B-84AE-45CE-B499-645A6CB3D5EF}"/>
</file>

<file path=customXml/itemProps38.xml><?xml version="1.0" encoding="utf-8"?>
<ds:datastoreItem xmlns:ds="http://schemas.openxmlformats.org/officeDocument/2006/customXml" ds:itemID="{530BD2C2-9A5B-49E7-8A3E-BE1E3B6B84B3}"/>
</file>

<file path=customXml/itemProps39.xml><?xml version="1.0" encoding="utf-8"?>
<ds:datastoreItem xmlns:ds="http://schemas.openxmlformats.org/officeDocument/2006/customXml" ds:itemID="{6AD5279B-9401-4516-81C8-83A6D77D6344}"/>
</file>

<file path=customXml/itemProps4.xml><?xml version="1.0" encoding="utf-8"?>
<ds:datastoreItem xmlns:ds="http://schemas.openxmlformats.org/officeDocument/2006/customXml" ds:itemID="{9E3E0832-F42E-4978-85FF-525B4BAF537A}"/>
</file>

<file path=customXml/itemProps40.xml><?xml version="1.0" encoding="utf-8"?>
<ds:datastoreItem xmlns:ds="http://schemas.openxmlformats.org/officeDocument/2006/customXml" ds:itemID="{EEF8E94D-FCE9-4726-930B-346F854B77D0}">
  <ds:schemaRefs>
    <ds:schemaRef ds:uri="http://www.sap.com/cof/powerpoint/application"/>
  </ds:schemaRefs>
</ds:datastoreItem>
</file>

<file path=customXml/itemProps41.xml><?xml version="1.0" encoding="utf-8"?>
<ds:datastoreItem xmlns:ds="http://schemas.openxmlformats.org/officeDocument/2006/customXml" ds:itemID="{8CF9F65D-6156-40AF-9DB9-1A277191CCF7}"/>
</file>

<file path=customXml/itemProps42.xml><?xml version="1.0" encoding="utf-8"?>
<ds:datastoreItem xmlns:ds="http://schemas.openxmlformats.org/officeDocument/2006/customXml" ds:itemID="{4D26C59B-60F1-4C44-AE83-2DC3ECF82404}"/>
</file>

<file path=customXml/itemProps5.xml><?xml version="1.0" encoding="utf-8"?>
<ds:datastoreItem xmlns:ds="http://schemas.openxmlformats.org/officeDocument/2006/customXml" ds:itemID="{893B53C5-6B30-405A-B44E-8C9433D68356}"/>
</file>

<file path=customXml/itemProps6.xml><?xml version="1.0" encoding="utf-8"?>
<ds:datastoreItem xmlns:ds="http://schemas.openxmlformats.org/officeDocument/2006/customXml" ds:itemID="{5F6360E2-1D28-445D-A354-8492E50B6B2C}"/>
</file>

<file path=customXml/itemProps7.xml><?xml version="1.0" encoding="utf-8"?>
<ds:datastoreItem xmlns:ds="http://schemas.openxmlformats.org/officeDocument/2006/customXml" ds:itemID="{54E8980D-5FD0-47FF-9C7B-680970D8F98B}"/>
</file>

<file path=customXml/itemProps8.xml><?xml version="1.0" encoding="utf-8"?>
<ds:datastoreItem xmlns:ds="http://schemas.openxmlformats.org/officeDocument/2006/customXml" ds:itemID="{D3015C6E-0741-495D-ACB7-671BBC879D09}"/>
</file>

<file path=customXml/itemProps9.xml><?xml version="1.0" encoding="utf-8"?>
<ds:datastoreItem xmlns:ds="http://schemas.openxmlformats.org/officeDocument/2006/customXml" ds:itemID="{280554F9-3051-4843-8C75-74097BD7169C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26440</TotalTime>
  <Words>87</Words>
  <Application>Microsoft Office PowerPoint</Application>
  <PresentationFormat>Лист A4 (210x297 мм)</PresentationFormat>
  <Paragraphs>19</Paragraphs>
  <Slides>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Times New Roman</vt:lpstr>
      <vt:lpstr>Office Theme</vt:lpstr>
      <vt:lpstr>think-cell Slide</vt:lpstr>
      <vt:lpstr>Презентация PowerPoint</vt:lpstr>
      <vt:lpstr>Презентация PowerPoint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ermagambetov, Damir</dc:creator>
  <cp:lastModifiedBy>Мукушева Асемгул</cp:lastModifiedBy>
  <cp:revision>2818</cp:revision>
  <cp:lastPrinted>2024-02-07T06:05:55Z</cp:lastPrinted>
  <dcterms:created xsi:type="dcterms:W3CDTF">2017-02-06T06:40:59Z</dcterms:created>
  <dcterms:modified xsi:type="dcterms:W3CDTF">2024-02-07T06:29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LPManualFileClassification">
    <vt:lpwstr>{1A067545-A4E2-4FA1-8094-0D7902669705}</vt:lpwstr>
  </property>
  <property fmtid="{D5CDD505-2E9C-101B-9397-08002B2CF9AE}" pid="3" name="DLPManualFileClassificationLastModifiedBy">
    <vt:lpwstr>INTRANET\a-aliakparova</vt:lpwstr>
  </property>
  <property fmtid="{D5CDD505-2E9C-101B-9397-08002B2CF9AE}" pid="4" name="DLPManualFileClassificationLastModificationDate">
    <vt:lpwstr>1615350932</vt:lpwstr>
  </property>
  <property fmtid="{D5CDD505-2E9C-101B-9397-08002B2CF9AE}" pid="5" name="DLPManualFileClassificationVersion">
    <vt:lpwstr>11.2.0.14</vt:lpwstr>
  </property>
</Properties>
</file>